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6" r:id="rId3"/>
    <p:sldId id="257" r:id="rId4"/>
    <p:sldId id="258" r:id="rId5"/>
    <p:sldId id="260" r:id="rId6"/>
    <p:sldId id="262" r:id="rId7"/>
    <p:sldId id="263" r:id="rId8"/>
    <p:sldId id="264" r:id="rId9"/>
    <p:sldId id="267" r:id="rId10"/>
    <p:sldId id="268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2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57C3F-0FB2-4B2E-BA6A-FEEEFF1AF7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685801"/>
            <a:ext cx="8115300" cy="3046228"/>
          </a:xfrm>
        </p:spPr>
        <p:txBody>
          <a:bodyPr anchor="b">
            <a:normAutofit/>
          </a:bodyPr>
          <a:lstStyle>
            <a:lvl1pPr algn="ctr">
              <a:defRPr sz="36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83AE9-1CC1-4572-A6E5-E97F80E476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7400" y="4114800"/>
            <a:ext cx="8115300" cy="2057400"/>
          </a:xfrm>
        </p:spPr>
        <p:txBody>
          <a:bodyPr/>
          <a:lstStyle>
            <a:lvl1pPr marL="0" indent="0" algn="ctr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4DE7C-68AB-403D-B9D8-7398C292C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EA57E-7C1A-457B-A4CD-5DCEB057B502}" type="datetime1">
              <a:rPr lang="en-US" smtClean="0"/>
              <a:t>10/25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03E50-6613-4D86-AA22-43B14E727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69AB5-A56D-471F-9236-EFA981E2E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52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2744C-12E6-455B-B646-2EA92DE0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D71C4D-C062-4EEE-9A9A-31ADCC5C87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4DC97-C26E-407A-9E29-68C52D547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89749-A4CD-447F-8298-2B7988C91CEA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2E9353-B771-47FF-975E-72337414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5A858-B8B2-4364-A7D0-B2E8FAE0A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31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2A6BABE-D80C-4F54-A03C-E1F9EBCA83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285191-EF5B-48BE-AB5D-B7BA4C3D09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A387A-1231-4FE3-8574-D4331A343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444D3-C0BA-4587-A56C-581AB9F841BE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1559-4901-4AD3-ABE7-DF023545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F6C18E-B751-4E7B-9CD8-1BF44DAB8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988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9B412-EBAB-4569-B3D9-6B346BF83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</p:spPr>
        <p:txBody>
          <a:bodyPr>
            <a:normAutofit/>
          </a:bodyPr>
          <a:lstStyle>
            <a:lvl1pPr algn="l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7C8AE-B0F4-404F-BCAD-A14C18E50D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A9CAD-DAFB-4DE3-9C41-7FD03EA8D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AF2CE-4F37-411C-A3EE-BBBE223265BF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E3137-8136-46C5-AC2F-49E5F55E4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AB6EF-A0B1-4706-AE44-253A6B182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149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2F68-BF19-468D-B422-54B6D189F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77407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BF7D7-84D4-4A39-B44E-9B029EEB1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641624"/>
            <a:ext cx="10515600" cy="1448026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29709-D243-41E8-89FA-62FA7AEB5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083D4-708C-4BB5-B4FD-30CE9FA12FD5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B99C0-DC2A-4133-A10D-D43A1E05B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22EFD-A17E-47F5-8AC9-EFD6D813D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361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C668D-BFBE-4765-A294-8303931B5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071" y="566278"/>
            <a:ext cx="9512429" cy="965458"/>
          </a:xfrm>
        </p:spPr>
        <p:txBody>
          <a:bodyPr/>
          <a:lstStyle>
            <a:lvl1pPr algn="ctr">
              <a:defRPr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3C212-F55F-4D0D-BFA7-F00A33CAA1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9758" y="2057400"/>
            <a:ext cx="5031521" cy="4119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54BDD7-2575-4E82-887D-DCAF9EB15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5408" y="2057401"/>
            <a:ext cx="5016834" cy="4119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AECC8-3C3A-4A5D-AB7A-1F99E5023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239B2-65BC-4C2A-A62B-3EABFE9590E4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47609B-ACA4-4323-9340-C7DB166D7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409EA3-C5C7-4AC6-956A-DB9A3B4F3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707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0CDE0-7431-4F05-AA47-F10EB46C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276552" cy="1149350"/>
          </a:xfrm>
        </p:spPr>
        <p:txBody>
          <a:bodyPr>
            <a:normAutofit/>
          </a:bodyPr>
          <a:lstStyle>
            <a:lvl1pPr algn="ctr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9FFA7-D3EA-4CB8-A471-94235AD62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5360D2-88E8-43C8-92D1-67AB23BBE2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768F6-20A1-47A1-90FE-903135EEFD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555EC1-268F-4324-A003-3608AA0D8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55C8E4-FCB8-4E06-9C43-0ACD949A7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05F5A-E4A3-476F-A89E-C2B73F2431E4}" type="datetime1">
              <a:rPr lang="en-US" smtClean="0"/>
              <a:t>10/2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01C005-C973-4D82-942A-334F1D43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FB6186-6570-4DE8-8603-70B0A51DF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48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5ADD3-88C8-4B01-8CC6-808C0E41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634E6A-1390-4101-B78E-759231340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61515-4A26-4F31-9F61-5A10B1FABBFC}" type="datetime1">
              <a:rPr lang="en-US" smtClean="0"/>
              <a:t>10/2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BC7B90-4C99-4653-872A-3572A02DA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03516-4D31-49D2-9488-33C734A7A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125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0D8488-CF25-431B-A87A-AAF141BD0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5DC65-7D1F-4BAB-9695-F7E734143E14}" type="datetime1">
              <a:rPr lang="en-US" smtClean="0"/>
              <a:t>10/2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2F58E5-C92D-4C64-B867-0576B1EAD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16797-ABEC-4FE0-AFDE-36107B967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61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8F2B0-990D-418E-9D10-2464E9866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81131-AFFD-4339-9F30-D408B5105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7C47F4-7968-4698-8BD3-A583099FAA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2BC6F-3996-4B2B-B8F2-DD3A82CCF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24077-BD55-4036-8E92-6558FDF3B653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832E66-581A-4CF2-A40A-4E24FAAC4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B1C89-C625-4618-81A2-FB34E4DA0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35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1486F-443A-4F2D-AB1F-8B1F4C4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A21213-E7FB-406A-B8CD-735AAC7AD0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41A03-500E-49F7-8D99-A1EAFE4D3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1523D-69E9-4EAE-A610-B3A237B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225F2-7107-4609-BCC2-77C63064A5E8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B852F-4134-4AB5-BA87-483B1E1AD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34C5CB-918E-4A09-8222-D36E37B6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55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A32AA-2BE3-4CB8-BE3C-8A2D589E5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478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AA0686-7BAC-45C0-BA30-0D0CBCE5C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4202DE-82CD-407D-8C68-174B0CBB5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599" y="2254103"/>
            <a:ext cx="9486901" cy="3918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4AC9D-6E1B-46D3-959F-A068A1EDB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9800022" y="3223751"/>
            <a:ext cx="4114801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D3FE42E8-8B57-452D-A122-4DCE9AC771EF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C0015-9EFB-40F8-BC00-AC2483D609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-1708136" y="3223750"/>
            <a:ext cx="4114800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2C732-0E3E-49E0-A72E-D4C08CB44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340" y="6356350"/>
            <a:ext cx="871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spc="30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F8E28480-1C08-4458-AD97-0283E6FFD0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913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7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324B96B7-F07C-4E9B-86F3-BC4691135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Color splashes against a white background">
            <a:extLst>
              <a:ext uri="{FF2B5EF4-FFF2-40B4-BE49-F238E27FC236}">
                <a16:creationId xmlns:a16="http://schemas.microsoft.com/office/drawing/2014/main" id="{C9EE585E-3BC9-43AC-8873-C26287FB21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230" b="7501"/>
          <a:stretch/>
        </p:blipFill>
        <p:spPr>
          <a:xfrm>
            <a:off x="20" y="10"/>
            <a:ext cx="12191980" cy="685798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080042-2FDB-4BE7-AC8D-68634797C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391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11BA5C5-0EC3-4D7E-A446-6729FD8E2BF6}"/>
              </a:ext>
            </a:extLst>
          </p:cNvPr>
          <p:cNvSpPr txBox="1"/>
          <p:nvPr/>
        </p:nvSpPr>
        <p:spPr>
          <a:xfrm>
            <a:off x="3332822" y="3059668"/>
            <a:ext cx="4715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Section B Chat Analysis </a:t>
            </a:r>
          </a:p>
        </p:txBody>
      </p:sp>
    </p:spTree>
    <p:extLst>
      <p:ext uri="{BB962C8B-B14F-4D97-AF65-F5344CB8AC3E}">
        <p14:creationId xmlns:p14="http://schemas.microsoft.com/office/powerpoint/2010/main" val="17357529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ismatch Responder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4F89A9-7922-49C4-B377-3BE8C7CDDB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787" y="1404655"/>
            <a:ext cx="3410426" cy="404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69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BB34B5A-535A-44B6-89E8-48C067C8B29B}"/>
              </a:ext>
            </a:extLst>
          </p:cNvPr>
          <p:cNvSpPr/>
          <p:nvPr/>
        </p:nvSpPr>
        <p:spPr>
          <a:xfrm>
            <a:off x="0" y="3544389"/>
            <a:ext cx="12192000" cy="346995"/>
          </a:xfrm>
          <a:prstGeom prst="roundRect">
            <a:avLst/>
          </a:prstGeom>
          <a:solidFill>
            <a:srgbClr val="E729BC">
              <a:alpha val="21176"/>
            </a:srgb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34417C-AACB-4B89-A75C-894E2F2E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486900" cy="685799"/>
          </a:xfrm>
        </p:spPr>
        <p:txBody>
          <a:bodyPr/>
          <a:lstStyle/>
          <a:p>
            <a:r>
              <a:rPr lang="en-US" dirty="0"/>
              <a:t>Section B Ap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9767A0-8F9B-49E2-A621-0FBD170E8B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949" y="1012068"/>
            <a:ext cx="5672052" cy="877692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100" dirty="0"/>
              <a:t>Lack of chat analysis options that try accommodate outside the chat interactions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Many chat analysis options either monitor low level information of very large groups or deep level analysis of one-on-one interactions 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Someone remote from the group wants to determine what is going on while they aren’t t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F453C51-3209-465F-909D-36A2A31F90D9}"/>
              </a:ext>
            </a:extLst>
          </p:cNvPr>
          <p:cNvSpPr txBox="1">
            <a:spLocks/>
          </p:cNvSpPr>
          <p:nvPr/>
        </p:nvSpPr>
        <p:spPr>
          <a:xfrm>
            <a:off x="268778" y="529934"/>
            <a:ext cx="1742902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roblems</a:t>
            </a:r>
            <a:endParaRPr lang="en-US" sz="14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132E61-1C99-42F2-907C-66FCFE961A38}"/>
              </a:ext>
            </a:extLst>
          </p:cNvPr>
          <p:cNvSpPr txBox="1">
            <a:spLocks/>
          </p:cNvSpPr>
          <p:nvPr/>
        </p:nvSpPr>
        <p:spPr>
          <a:xfrm>
            <a:off x="268778" y="1622712"/>
            <a:ext cx="1742902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Solution</a:t>
            </a:r>
            <a:endParaRPr lang="en-US" sz="14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97069F-15F6-47F9-86A3-7EBAE5D2E369}"/>
              </a:ext>
            </a:extLst>
          </p:cNvPr>
          <p:cNvSpPr txBox="1">
            <a:spLocks/>
          </p:cNvSpPr>
          <p:nvPr/>
        </p:nvSpPr>
        <p:spPr>
          <a:xfrm>
            <a:off x="423948" y="2065416"/>
            <a:ext cx="5672052" cy="87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100" dirty="0"/>
              <a:t>Chat analysis app that analyzes medium sized highly interactive groups of people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Metrics that identify persons, positions, and power outside of the chat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Allows input of external dat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EFA5EFF-8705-4A07-A972-B7972047A29A}"/>
              </a:ext>
            </a:extLst>
          </p:cNvPr>
          <p:cNvSpPr txBox="1">
            <a:spLocks/>
          </p:cNvSpPr>
          <p:nvPr/>
        </p:nvSpPr>
        <p:spPr>
          <a:xfrm>
            <a:off x="268778" y="2513952"/>
            <a:ext cx="3305695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Where we are now</a:t>
            </a:r>
            <a:endParaRPr lang="en-US" sz="14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B526A3A-5065-4685-BEC7-61CF7417EFBB}"/>
              </a:ext>
            </a:extLst>
          </p:cNvPr>
          <p:cNvSpPr txBox="1">
            <a:spLocks/>
          </p:cNvSpPr>
          <p:nvPr/>
        </p:nvSpPr>
        <p:spPr>
          <a:xfrm>
            <a:off x="423948" y="2975217"/>
            <a:ext cx="5672052" cy="49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Several metrics built off 4 years (2 chats for 2 years) of high level interaction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Dynamic code intake for multiple types of devices</a:t>
            </a:r>
          </a:p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ACEDE8A-B4B5-446B-B818-75A80AA71464}"/>
              </a:ext>
            </a:extLst>
          </p:cNvPr>
          <p:cNvSpPr txBox="1">
            <a:spLocks/>
          </p:cNvSpPr>
          <p:nvPr/>
        </p:nvSpPr>
        <p:spPr>
          <a:xfrm>
            <a:off x="0" y="3468974"/>
            <a:ext cx="12192000" cy="534095"/>
          </a:xfrm>
          <a:prstGeom prst="rect">
            <a:avLst/>
          </a:prstGeom>
          <a:noFill/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Future Deliverables</a:t>
            </a:r>
            <a:endParaRPr lang="en-US" sz="14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552D7C-A6A7-4542-AD43-509CC36885E1}"/>
              </a:ext>
            </a:extLst>
          </p:cNvPr>
          <p:cNvSpPr txBox="1">
            <a:spLocks/>
          </p:cNvSpPr>
          <p:nvPr/>
        </p:nvSpPr>
        <p:spPr>
          <a:xfrm>
            <a:off x="423948" y="4458424"/>
            <a:ext cx="5672052" cy="49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Sentiment analysis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Personality identification </a:t>
            </a:r>
          </a:p>
          <a:p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29869C3-F85F-4A37-A897-1181E234954D}"/>
              </a:ext>
            </a:extLst>
          </p:cNvPr>
          <p:cNvSpPr txBox="1">
            <a:spLocks/>
          </p:cNvSpPr>
          <p:nvPr/>
        </p:nvSpPr>
        <p:spPr>
          <a:xfrm>
            <a:off x="6556366" y="3962731"/>
            <a:ext cx="4547063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Growth Plan</a:t>
            </a:r>
            <a:endParaRPr lang="en-US" sz="14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49D0ED-E7E5-4DA6-878D-7B3EB7049ED4}"/>
              </a:ext>
            </a:extLst>
          </p:cNvPr>
          <p:cNvSpPr txBox="1">
            <a:spLocks/>
          </p:cNvSpPr>
          <p:nvPr/>
        </p:nvSpPr>
        <p:spPr>
          <a:xfrm>
            <a:off x="6650874" y="4458424"/>
            <a:ext cx="5672052" cy="856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Drive user adaption by offering free analytics to close knit cohorts (future MBA classes)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Expand to international universities within Catalonia/Spain</a:t>
            </a:r>
          </a:p>
          <a:p>
            <a:pPr>
              <a:spcBef>
                <a:spcPts val="0"/>
              </a:spcBef>
            </a:pPr>
            <a:endParaRPr lang="en-US" sz="1100" dirty="0"/>
          </a:p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186436-74C4-4FD7-95FD-DDEB8410B215}"/>
              </a:ext>
            </a:extLst>
          </p:cNvPr>
          <p:cNvSpPr txBox="1">
            <a:spLocks/>
          </p:cNvSpPr>
          <p:nvPr/>
        </p:nvSpPr>
        <p:spPr>
          <a:xfrm>
            <a:off x="196387" y="4068078"/>
            <a:ext cx="4547063" cy="3903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Featur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91853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DDB4BB-B259-4339-9232-7D748101C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459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D78474-BFB6-4888-914A-848280DBC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360" y="226264"/>
            <a:ext cx="9486900" cy="553720"/>
          </a:xfrm>
        </p:spPr>
        <p:txBody>
          <a:bodyPr vert="horz"/>
          <a:lstStyle/>
          <a:p>
            <a:pPr algn="ctr"/>
            <a:r>
              <a:rPr lang="en-US" dirty="0"/>
              <a:t>Texts over ti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547752-22C8-4B04-858F-63D8209DC8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79984"/>
            <a:ext cx="12192000" cy="5940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567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887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texts s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8C49E8-43E2-4B5D-B8A1-2200B9BE44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8810" y="1237944"/>
            <a:ext cx="7554379" cy="438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882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509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texts 2-5A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B4C27B-F022-4FF5-86A5-7E64EABB2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0678" y="847364"/>
            <a:ext cx="7830643" cy="5163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40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16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Longest Messa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A50181-2136-499B-9F7C-2221A3394C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31242"/>
            <a:ext cx="12192000" cy="459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40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711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5348"/>
            <a:ext cx="10358846" cy="58420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dirty="0"/>
              <a:t>“they only talk to me when they need me”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22A9A0-9A8A-4E97-B2BF-E2AFD119F6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1600" y="1258356"/>
            <a:ext cx="9332632" cy="553429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609D2FF-7A4B-490D-9C6A-B5477BD17E37}"/>
              </a:ext>
            </a:extLst>
          </p:cNvPr>
          <p:cNvSpPr txBox="1">
            <a:spLocks/>
          </p:cNvSpPr>
          <p:nvPr/>
        </p:nvSpPr>
        <p:spPr>
          <a:xfrm>
            <a:off x="1371600" y="539965"/>
            <a:ext cx="10358846" cy="5842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Largest total M/M change in participation </a:t>
            </a:r>
          </a:p>
        </p:txBody>
      </p:sp>
    </p:spTree>
    <p:extLst>
      <p:ext uri="{BB962C8B-B14F-4D97-AF65-F5344CB8AC3E}">
        <p14:creationId xmlns:p14="http://schemas.microsoft.com/office/powerpoint/2010/main" val="3688426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956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deleted Messag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378B88-6E22-497D-8630-67F9313748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63298" y="875354"/>
            <a:ext cx="8526065" cy="3801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80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2AA6F-31A7-49EF-8189-C23D73FBD0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2AA6F-31A7-49EF-8189-C23D73FBD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E2D8AB-C292-4018-8F94-3206DF521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2880"/>
            <a:ext cx="9486900" cy="584200"/>
          </a:xfrm>
        </p:spPr>
        <p:txBody>
          <a:bodyPr vert="horz"/>
          <a:lstStyle/>
          <a:p>
            <a:pPr algn="ctr"/>
            <a:r>
              <a:rPr lang="en-US" dirty="0"/>
              <a:t>Most Popular Emoj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4D9BE69-A0DD-403D-A568-B5A529A108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0946" y="2042919"/>
            <a:ext cx="2210108" cy="277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84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assicFrameVTI">
  <a:themeElements>
    <a:clrScheme name="AnalogousFromRegularSeedLeftStep">
      <a:dk1>
        <a:srgbClr val="000000"/>
      </a:dk1>
      <a:lt1>
        <a:srgbClr val="FFFFFF"/>
      </a:lt1>
      <a:dk2>
        <a:srgbClr val="301B2B"/>
      </a:dk2>
      <a:lt2>
        <a:srgbClr val="F0F1F3"/>
      </a:lt2>
      <a:accent1>
        <a:srgbClr val="B1A11F"/>
      </a:accent1>
      <a:accent2>
        <a:srgbClr val="D57117"/>
      </a:accent2>
      <a:accent3>
        <a:srgbClr val="E73429"/>
      </a:accent3>
      <a:accent4>
        <a:srgbClr val="D5175B"/>
      </a:accent4>
      <a:accent5>
        <a:srgbClr val="E729BC"/>
      </a:accent5>
      <a:accent6>
        <a:srgbClr val="B117D5"/>
      </a:accent6>
      <a:hlink>
        <a:srgbClr val="5763C7"/>
      </a:hlink>
      <a:folHlink>
        <a:srgbClr val="7F7F7F"/>
      </a:folHlink>
    </a:clrScheme>
    <a:fontScheme name="Goudy and Gill Sans">
      <a:majorFont>
        <a:latin typeface="Goudy Old Style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ssicFrameVTI" id="{4FA2A165-EC65-4FB0-B019-8C8876A1D8E3}" vid="{9D78F1F1-8226-42FD-A1A3-975EDF6D60F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0</TotalTime>
  <Words>187</Words>
  <Application>Microsoft Office PowerPoint</Application>
  <PresentationFormat>Widescreen</PresentationFormat>
  <Paragraphs>2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Gill Sans MT</vt:lpstr>
      <vt:lpstr>Goudy Old Style</vt:lpstr>
      <vt:lpstr>ClassicFrameVTI</vt:lpstr>
      <vt:lpstr>think-cell Slide</vt:lpstr>
      <vt:lpstr>PowerPoint Presentation</vt:lpstr>
      <vt:lpstr>Section B App</vt:lpstr>
      <vt:lpstr>Texts over time</vt:lpstr>
      <vt:lpstr>Most texts sent</vt:lpstr>
      <vt:lpstr>Most texts 2-5AM</vt:lpstr>
      <vt:lpstr>Longest Message</vt:lpstr>
      <vt:lpstr>“they only talk to me when they need me”</vt:lpstr>
      <vt:lpstr>Most deleted Messages</vt:lpstr>
      <vt:lpstr>Most Popular Emojis</vt:lpstr>
      <vt:lpstr>Mismatch Responder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annini Giannini, Jasson</dc:creator>
  <cp:lastModifiedBy>Giannini Giannini, Jasson</cp:lastModifiedBy>
  <cp:revision>22</cp:revision>
  <dcterms:created xsi:type="dcterms:W3CDTF">2021-05-20T09:31:22Z</dcterms:created>
  <dcterms:modified xsi:type="dcterms:W3CDTF">2021-10-25T19:10:47Z</dcterms:modified>
</cp:coreProperties>
</file>